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" ContentType="image/tif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22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12.xml" ContentType="application/vnd.openxmlformats-officedocument.presentationml.slide+xml"/>
  <Override PartName="/ppt/slides/slide17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6.xml" ContentType="application/vnd.openxmlformats-officedocument.presentationml.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5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2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8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23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</p:sldMasterIdLst>
  <p:notesMasterIdLst>
    <p:notesMasterId r:id="rId25"/>
  </p:notesMasterIdLst>
  <p:sldIdLst>
    <p:sldId id="455" r:id="rId3"/>
    <p:sldId id="617" r:id="rId4"/>
    <p:sldId id="616" r:id="rId5"/>
    <p:sldId id="639" r:id="rId6"/>
    <p:sldId id="624" r:id="rId7"/>
    <p:sldId id="626" r:id="rId8"/>
    <p:sldId id="628" r:id="rId9"/>
    <p:sldId id="629" r:id="rId10"/>
    <p:sldId id="630" r:id="rId11"/>
    <p:sldId id="631" r:id="rId12"/>
    <p:sldId id="632" r:id="rId13"/>
    <p:sldId id="633" r:id="rId14"/>
    <p:sldId id="634" r:id="rId15"/>
    <p:sldId id="621" r:id="rId16"/>
    <p:sldId id="640" r:id="rId17"/>
    <p:sldId id="627" r:id="rId18"/>
    <p:sldId id="622" r:id="rId19"/>
    <p:sldId id="645" r:id="rId20"/>
    <p:sldId id="646" r:id="rId21"/>
    <p:sldId id="647" r:id="rId22"/>
    <p:sldId id="524" r:id="rId23"/>
    <p:sldId id="641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>
      <p:ext uri="{19B8F6BF-5375-455C-9EA6-DF929625EA0E}">
        <p15:presenceInfo xmlns:p15="http://schemas.microsoft.com/office/powerpoint/2012/main" userId="Marina" providerId="None"/>
      </p:ext>
    </p:extLst>
  </p:cmAuthor>
  <p:cmAuthor id="2" name="Leilas" initials="L" lastIdx="11" clrIdx="1">
    <p:extLst>
      <p:ext uri="{19B8F6BF-5375-455C-9EA6-DF929625EA0E}">
        <p15:presenceInfo xmlns:p15="http://schemas.microsoft.com/office/powerpoint/2012/main" userId="Leilas" providerId="None"/>
      </p:ext>
    </p:extLst>
  </p:cmAuthor>
  <p:cmAuthor id="3" name="Admin" initials="AAA" lastIdx="2" clrIdx="2">
    <p:extLst>
      <p:ext uri="{19B8F6BF-5375-455C-9EA6-DF929625EA0E}">
        <p15:presenceInfo xmlns:p15="http://schemas.microsoft.com/office/powerpoint/2012/main" userId="Admin" providerId="None"/>
      </p:ext>
    </p:extLst>
  </p:cmAuthor>
  <p:cmAuthor id="4" name="Шинко Елена Юрьевна" initials="ШЕЮ" lastIdx="37" clrIdx="3">
    <p:extLst>
      <p:ext uri="{19B8F6BF-5375-455C-9EA6-DF929625EA0E}">
        <p15:presenceInfo xmlns:p15="http://schemas.microsoft.com/office/powerpoint/2012/main" userId="S-1-5-21-4226584364-21557989-1436132917-153086" providerId="AD"/>
      </p:ext>
    </p:extLst>
  </p:cmAuthor>
  <p:cmAuthor id="5" name="Яковлев Е.С." initials="ЯЕС" lastIdx="19" clrIdx="4">
    <p:extLst>
      <p:ext uri="{19B8F6BF-5375-455C-9EA6-DF929625EA0E}">
        <p15:presenceInfo xmlns:p15="http://schemas.microsoft.com/office/powerpoint/2012/main" userId="Яковлев Е.С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950D"/>
    <a:srgbClr val="F0F8FA"/>
    <a:srgbClr val="2D2B8D"/>
    <a:srgbClr val="0073B8"/>
    <a:srgbClr val="9ED442"/>
    <a:srgbClr val="40A7E1"/>
    <a:srgbClr val="F5B144"/>
    <a:srgbClr val="F6DB7E"/>
    <a:srgbClr val="4383DD"/>
    <a:srgbClr val="79B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2" autoAdjust="0"/>
    <p:restoredTop sz="95126" autoAdjust="0"/>
  </p:normalViewPr>
  <p:slideViewPr>
    <p:cSldViewPr snapToGrid="0">
      <p:cViewPr varScale="1">
        <p:scale>
          <a:sx n="111" d="100"/>
          <a:sy n="111" d="100"/>
        </p:scale>
        <p:origin x="390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2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customXml" Target="../customXml/item4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33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ustomXml" Target="../customXml/item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ustomXml" Target="../customXml/item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Функциональная грамотность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324-45AC-8C3B-47DE5D82109F}"/>
              </c:ext>
            </c:extLst>
          </c:dPt>
          <c:dPt>
            <c:idx val="1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324-45AC-8C3B-47DE5D82109F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B324-45AC-8C3B-47DE5D82109F}"/>
              </c:ext>
            </c:extLst>
          </c:dPt>
          <c:dPt>
            <c:idx val="3"/>
            <c:bubble3D val="0"/>
            <c:spPr>
              <a:solidFill>
                <a:srgbClr val="00206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324-45AC-8C3B-47DE5D82109F}"/>
              </c:ext>
            </c:extLst>
          </c:dPt>
          <c:dPt>
            <c:idx val="4"/>
            <c:bubble3D val="0"/>
            <c:spPr>
              <a:solidFill>
                <a:srgbClr val="E9950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324-45AC-8C3B-47DE5D82109F}"/>
              </c:ext>
            </c:extLst>
          </c:dPt>
          <c:cat>
            <c:strRef>
              <c:f>Лист1!$A$2:$A$6</c:f>
              <c:strCache>
                <c:ptCount val="5"/>
                <c:pt idx="0">
                  <c:v>Математическая грамотность</c:v>
                </c:pt>
                <c:pt idx="1">
                  <c:v>Читательская грамотность</c:v>
                </c:pt>
                <c:pt idx="2">
                  <c:v>Естественно-научная грамотность</c:v>
                </c:pt>
                <c:pt idx="3">
                  <c:v>Финансовая грамотность</c:v>
                </c:pt>
                <c:pt idx="4">
                  <c:v>Креативное мышление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24-45AC-8C3B-47DE5D8210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>
      <a:outerShdw blurRad="50800" dist="38100" dir="2700000" algn="tl" rotWithShape="0">
        <a:schemeClr val="bg1">
          <a:alpha val="40000"/>
        </a:schemeClr>
      </a:outerShdw>
    </a:effectLst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2.03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18546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1804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62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38796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03685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0443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1274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34314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5064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595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0060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269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6889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5881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52490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54275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617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4" name="Прямоугольник"/>
          <p:cNvSpPr/>
          <p:nvPr/>
        </p:nvSpPr>
        <p:spPr>
          <a:xfrm>
            <a:off x="-1390" y="-5954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25" name="Прямоугольник"/>
          <p:cNvSpPr/>
          <p:nvPr/>
        </p:nvSpPr>
        <p:spPr>
          <a:xfrm>
            <a:off x="-1389" y="6546820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39743" r="39743" b="36077"/>
          <a:stretch>
            <a:fillRect/>
          </a:stretch>
        </p:blipFill>
        <p:spPr>
          <a:xfrm>
            <a:off x="11386743" y="476085"/>
            <a:ext cx="523745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67907" y="6500813"/>
            <a:ext cx="247257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14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944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38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12541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4103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456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0823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8918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7683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1310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06171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5773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837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22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2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" y="0"/>
            <a:ext cx="1757966" cy="6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85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slide" Target="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slide" Target="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slide" Target="slid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slide" Target="slide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13" Type="http://schemas.openxmlformats.org/officeDocument/2006/relationships/image" Target="../media/image40.jpeg"/><Relationship Id="rId18" Type="http://schemas.openxmlformats.org/officeDocument/2006/relationships/hyperlink" Target="https://shop.prosv.ru/katalog#/orderby=5&amp;sFilters=4!2304;13!17879;" TargetMode="External"/><Relationship Id="rId3" Type="http://schemas.openxmlformats.org/officeDocument/2006/relationships/image" Target="../media/image5.emf"/><Relationship Id="rId7" Type="http://schemas.openxmlformats.org/officeDocument/2006/relationships/image" Target="../media/image35.jpeg"/><Relationship Id="rId12" Type="http://schemas.openxmlformats.org/officeDocument/2006/relationships/image" Target="../media/image39.png"/><Relationship Id="rId17" Type="http://schemas.openxmlformats.org/officeDocument/2006/relationships/image" Target="../media/image44.gif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43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4.png"/><Relationship Id="rId11" Type="http://schemas.openxmlformats.org/officeDocument/2006/relationships/image" Target="../media/image38.gif"/><Relationship Id="rId5" Type="http://schemas.openxmlformats.org/officeDocument/2006/relationships/image" Target="../media/image33.png"/><Relationship Id="rId15" Type="http://schemas.openxmlformats.org/officeDocument/2006/relationships/image" Target="../media/image42.jpeg"/><Relationship Id="rId10" Type="http://schemas.openxmlformats.org/officeDocument/2006/relationships/hyperlink" Target="https://shop.prosv.ru/katalog#/orderby=5&amp;sFilters=4!2304;2!1750;8!2506;" TargetMode="External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49.gif"/><Relationship Id="rId3" Type="http://schemas.openxmlformats.org/officeDocument/2006/relationships/image" Target="../media/image5.emf"/><Relationship Id="rId7" Type="http://schemas.openxmlformats.org/officeDocument/2006/relationships/image" Target="../media/image45.png"/><Relationship Id="rId12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shop.prosv.ru/katalog#/orderby=5&amp;sFilters=13!3000;" TargetMode="External"/><Relationship Id="rId11" Type="http://schemas.openxmlformats.org/officeDocument/2006/relationships/hyperlink" Target="https://media.prosv.ru/content/?situations=true" TargetMode="External"/><Relationship Id="rId5" Type="http://schemas.openxmlformats.org/officeDocument/2006/relationships/hyperlink" Target="https://shop.prosv.ru/katalog#/orderby=5&amp;sFilters=13!67611;" TargetMode="External"/><Relationship Id="rId10" Type="http://schemas.openxmlformats.org/officeDocument/2006/relationships/image" Target="../media/image48.png"/><Relationship Id="rId4" Type="http://schemas.openxmlformats.org/officeDocument/2006/relationships/hyperlink" Target="https://shop.prosv.ru/katalog#/orderby=5&amp;sFilters=13!81288;" TargetMode="External"/><Relationship Id="rId9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13" Type="http://schemas.openxmlformats.org/officeDocument/2006/relationships/image" Target="../media/image37.png"/><Relationship Id="rId3" Type="http://schemas.openxmlformats.org/officeDocument/2006/relationships/image" Target="../media/image50.jpeg"/><Relationship Id="rId7" Type="http://schemas.openxmlformats.org/officeDocument/2006/relationships/image" Target="../media/image54.jpeg"/><Relationship Id="rId12" Type="http://schemas.openxmlformats.org/officeDocument/2006/relationships/hyperlink" Target="https://prosv.ru/pages/pisa.html" TargetMode="External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.jpeg"/><Relationship Id="rId11" Type="http://schemas.openxmlformats.org/officeDocument/2006/relationships/image" Target="../media/image58.gif"/><Relationship Id="rId5" Type="http://schemas.openxmlformats.org/officeDocument/2006/relationships/image" Target="../media/image52.jpeg"/><Relationship Id="rId10" Type="http://schemas.openxmlformats.org/officeDocument/2006/relationships/image" Target="../media/image57.jpe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image" Target="../media/image59.png"/><Relationship Id="rId7" Type="http://schemas.openxmlformats.org/officeDocument/2006/relationships/image" Target="../media/image63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png"/><Relationship Id="rId11" Type="http://schemas.openxmlformats.org/officeDocument/2006/relationships/image" Target="../media/image37.png"/><Relationship Id="rId5" Type="http://schemas.openxmlformats.org/officeDocument/2006/relationships/image" Target="../media/image61.png"/><Relationship Id="rId10" Type="http://schemas.openxmlformats.org/officeDocument/2006/relationships/hyperlink" Target="https://prosv.ru/pages/pisa.html" TargetMode="External"/><Relationship Id="rId4" Type="http://schemas.openxmlformats.org/officeDocument/2006/relationships/image" Target="../media/image60.png"/><Relationship Id="rId9" Type="http://schemas.openxmlformats.org/officeDocument/2006/relationships/image" Target="../media/image65.gi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6.png"/><Relationship Id="rId7" Type="http://schemas.openxmlformats.org/officeDocument/2006/relationships/image" Target="../media/image68.png"/><Relationship Id="rId12" Type="http://schemas.openxmlformats.org/officeDocument/2006/relationships/image" Target="../media/image37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8.png"/><Relationship Id="rId11" Type="http://schemas.openxmlformats.org/officeDocument/2006/relationships/hyperlink" Target="https://dev.media.prosv.ru/content/?situations=true" TargetMode="External"/><Relationship Id="rId5" Type="http://schemas.openxmlformats.org/officeDocument/2006/relationships/image" Target="../media/image11.svg"/><Relationship Id="rId10" Type="http://schemas.openxmlformats.org/officeDocument/2006/relationships/hyperlink" Target="https://ashe.graphics/preview/prosv/media/fg.html" TargetMode="External"/><Relationship Id="rId4" Type="http://schemas.openxmlformats.org/officeDocument/2006/relationships/image" Target="../media/image67.png"/><Relationship Id="rId9" Type="http://schemas.openxmlformats.org/officeDocument/2006/relationships/image" Target="../media/image7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" TargetMode="External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7.png"/><Relationship Id="rId4" Type="http://schemas.openxmlformats.org/officeDocument/2006/relationships/image" Target="../media/image7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13" Type="http://schemas.openxmlformats.org/officeDocument/2006/relationships/image" Target="../media/image75.png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12" Type="http://schemas.openxmlformats.org/officeDocument/2006/relationships/image" Target="../media/image7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73.png"/><Relationship Id="rId5" Type="http://schemas.openxmlformats.org/officeDocument/2006/relationships/notesSlide" Target="../notesSlides/notesSlide18.xml"/><Relationship Id="rId15" Type="http://schemas.openxmlformats.org/officeDocument/2006/relationships/image" Target="../media/image77.jpeg"/><Relationship Id="rId10" Type="http://schemas.openxmlformats.org/officeDocument/2006/relationships/hyperlink" Target="mailto:OLitvinov@prosv.ru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2.gif"/><Relationship Id="rId14" Type="http://schemas.openxmlformats.org/officeDocument/2006/relationships/image" Target="../media/image7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7.jpe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0.xml"/><Relationship Id="rId13" Type="http://schemas.openxmlformats.org/officeDocument/2006/relationships/slide" Target="slide15.xml"/><Relationship Id="rId3" Type="http://schemas.openxmlformats.org/officeDocument/2006/relationships/image" Target="../media/image5.emf"/><Relationship Id="rId7" Type="http://schemas.openxmlformats.org/officeDocument/2006/relationships/slide" Target="slide9.xml"/><Relationship Id="rId12" Type="http://schemas.openxmlformats.org/officeDocument/2006/relationships/slide" Target="slide1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6" Type="http://schemas.openxmlformats.org/officeDocument/2006/relationships/slide" Target="slide8.xml"/><Relationship Id="rId11" Type="http://schemas.openxmlformats.org/officeDocument/2006/relationships/slide" Target="slide13.xml"/><Relationship Id="rId5" Type="http://schemas.openxmlformats.org/officeDocument/2006/relationships/slide" Target="slide7.xml"/><Relationship Id="rId15" Type="http://schemas.openxmlformats.org/officeDocument/2006/relationships/slide" Target="slide17.xml"/><Relationship Id="rId10" Type="http://schemas.openxmlformats.org/officeDocument/2006/relationships/slide" Target="slide12.xml"/><Relationship Id="rId4" Type="http://schemas.openxmlformats.org/officeDocument/2006/relationships/slide" Target="slide6.xml"/><Relationship Id="rId9" Type="http://schemas.openxmlformats.org/officeDocument/2006/relationships/slide" Target="slide11.xml"/><Relationship Id="rId14" Type="http://schemas.openxmlformats.org/officeDocument/2006/relationships/slide" Target="slide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slide" Target="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slide" Target="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slide" Target="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slide" Target="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7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5954" y="4175011"/>
            <a:ext cx="10142632" cy="997196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600" b="1" dirty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ак включить в урок задания по </a:t>
            </a:r>
            <a:r>
              <a:rPr lang="ru-RU" sz="3600" b="1" dirty="0" smtClean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стественно-научной грамотности?</a:t>
            </a:r>
            <a:endParaRPr lang="ru-RU" sz="2800" dirty="0">
              <a:solidFill>
                <a:srgbClr val="2D2B8D"/>
              </a:solidFill>
              <a:latin typeface="Cambria" panose="02040503050406030204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7817563" y="5172207"/>
            <a:ext cx="406310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b="1" dirty="0">
                <a:solidFill>
                  <a:srgbClr val="002060"/>
                </a:solidFill>
              </a:rPr>
              <a:t>Ведущий методист </a:t>
            </a:r>
            <a:r>
              <a:rPr lang="ru-RU" b="1" dirty="0" smtClean="0">
                <a:solidFill>
                  <a:srgbClr val="002060"/>
                </a:solidFill>
              </a:rPr>
              <a:t>ГК «Просвещение»</a:t>
            </a:r>
          </a:p>
          <a:p>
            <a:pPr algn="r"/>
            <a:r>
              <a:rPr lang="ru-RU" b="1" dirty="0" smtClean="0">
                <a:solidFill>
                  <a:srgbClr val="002060"/>
                </a:solidFill>
              </a:rPr>
              <a:t>Литвинов </a:t>
            </a:r>
            <a:r>
              <a:rPr lang="ru-RU" b="1" dirty="0">
                <a:solidFill>
                  <a:srgbClr val="002060"/>
                </a:solidFill>
              </a:rPr>
              <a:t>Олег Андреевич</a:t>
            </a:r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62309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3454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70821" y="1307123"/>
            <a:ext cx="11005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о краткому описанию хода исследования или действий исследователей предлагается четко сформулировать его цель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357964"/>
            <a:ext cx="5097466" cy="401411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3401" y="2490736"/>
            <a:ext cx="5452472" cy="164186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70119" y="4064661"/>
            <a:ext cx="5516830" cy="222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195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70169"/>
            <a:ext cx="77856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3092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70820" y="1307123"/>
            <a:ext cx="112590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о описанию проблемы предлагается кратко сформулировать или оценить идею исследования, направленного на ее решение, и/или описать основные этапы такого исследования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411810"/>
            <a:ext cx="6250394" cy="191566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6272" y="4359172"/>
            <a:ext cx="6651054" cy="135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611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753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3454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70821" y="1307123"/>
            <a:ext cx="110051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не просто сформулировать гипотезы, объясняющие описанное явление, но и обязательно предложить возможные способы их проверки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307129"/>
            <a:ext cx="5956914" cy="185652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87097" y="3851329"/>
            <a:ext cx="5588884" cy="256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142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8494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ru-RU" sz="2400" b="1" dirty="0" smtClean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97018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Описывать и оценивать способы, которые используют учёные, чтобы обеспечить надёжность данных и достоверность объяснени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3016" y="243503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53018" y="1163998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?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53017" y="1533330"/>
            <a:ext cx="113260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охарактеризовать назначение того или иного элемента исследования, повышающего надежность результата (контрольная группа, контрольный образец, большая статистика и др.). Или: предлагается выбрать более надежную стратегию исследования вопроса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016" y="2822843"/>
            <a:ext cx="5573692" cy="148382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5043" y="3867783"/>
            <a:ext cx="5731585" cy="2279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444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9658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Где можно взять задания для формирования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10" name="Picture 10" descr="Физика. 7 класс: учебник в 2 ч. Ч. 1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30599" y="957744"/>
            <a:ext cx="2160000" cy="289358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4" descr="Физика. 7 класс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627038" y="957744"/>
            <a:ext cx="2160000" cy="289358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50" y="972942"/>
            <a:ext cx="2160000" cy="2872342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12"/>
          <p:cNvSpPr/>
          <p:nvPr/>
        </p:nvSpPr>
        <p:spPr>
          <a:xfrm>
            <a:off x="324945" y="5062431"/>
            <a:ext cx="26580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Традиционный курс по физике, учитывающий все современные требования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08581" y="5062431"/>
            <a:ext cx="23969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Современный классический курс по физике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116343" y="5062431"/>
            <a:ext cx="263428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Современный курс по физике, ориентированный на самостоятельную экспериментальную деятельность учащихся</a:t>
            </a:r>
          </a:p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 </a:t>
            </a:r>
            <a:endParaRPr lang="ru-RU" sz="1400" dirty="0">
              <a:solidFill>
                <a:srgbClr val="002060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858" y="957744"/>
            <a:ext cx="2192595" cy="292453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Прямоугольник 16"/>
          <p:cNvSpPr/>
          <p:nvPr/>
        </p:nvSpPr>
        <p:spPr>
          <a:xfrm>
            <a:off x="9132150" y="5062431"/>
            <a:ext cx="26580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</a:rPr>
              <a:t>Современный практико-ориентированный  курс </a:t>
            </a:r>
            <a:r>
              <a:rPr lang="ru-RU" sz="1400" dirty="0">
                <a:solidFill>
                  <a:srgbClr val="002060"/>
                </a:solidFill>
              </a:rPr>
              <a:t>по </a:t>
            </a:r>
            <a:r>
              <a:rPr lang="ru-RU" sz="1400" dirty="0" smtClean="0">
                <a:solidFill>
                  <a:srgbClr val="002060"/>
                </a:solidFill>
              </a:rPr>
              <a:t>физике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74672" y="3966966"/>
            <a:ext cx="15896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Перышкина</a:t>
            </a:r>
            <a:r>
              <a:rPr lang="ru-RU" sz="1100" b="1" dirty="0" smtClean="0">
                <a:solidFill>
                  <a:srgbClr val="002060"/>
                </a:solidFill>
              </a:rPr>
              <a:t> И.М., Иванов А.И. и др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28988" y="3966966"/>
            <a:ext cx="15597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Громова С.В., Родиной Н.А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592090" y="3966718"/>
            <a:ext cx="16827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Генденштейна</a:t>
            </a:r>
            <a:r>
              <a:rPr lang="ru-RU" sz="1100" b="1" dirty="0" smtClean="0">
                <a:solidFill>
                  <a:srgbClr val="002060"/>
                </a:solidFill>
              </a:rPr>
              <a:t> Л.Э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564048" y="3966718"/>
            <a:ext cx="158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«Сферы»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928988" y="4451654"/>
            <a:ext cx="156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659956" y="4451653"/>
            <a:ext cx="1602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1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683885" y="4451654"/>
            <a:ext cx="16534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2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3162" y="4451653"/>
            <a:ext cx="2673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В ФПУ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</a:rPr>
              <a:t>1.1.2.5.1.10.1-3</a:t>
            </a:r>
          </a:p>
        </p:txBody>
      </p:sp>
    </p:spTree>
    <p:extLst>
      <p:ext uri="{BB962C8B-B14F-4D97-AF65-F5344CB8AC3E}">
        <p14:creationId xmlns:p14="http://schemas.microsoft.com/office/powerpoint/2010/main" val="139511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69658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Где можно взять задания для формирования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93" y="822831"/>
            <a:ext cx="1139005" cy="164358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93" y="3272187"/>
            <a:ext cx="1139005" cy="152477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7804" y="3272187"/>
            <a:ext cx="1098828" cy="152477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0532" y="822832"/>
            <a:ext cx="1252112" cy="164358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TextBox 30"/>
          <p:cNvSpPr txBox="1"/>
          <p:nvPr/>
        </p:nvSpPr>
        <p:spPr>
          <a:xfrm>
            <a:off x="273229" y="2579609"/>
            <a:ext cx="145953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В.И. </a:t>
            </a:r>
            <a:r>
              <a:rPr lang="ru-RU" sz="12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Лукашик</a:t>
            </a:r>
            <a:endParaRPr lang="ru-RU" sz="1200" dirty="0" smtClean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Е.В. Иванов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777965" y="2572600"/>
            <a:ext cx="1678722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Д.А. Артеменков</a:t>
            </a:r>
          </a:p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.А. </a:t>
            </a:r>
            <a:r>
              <a:rPr lang="ru-RU" sz="12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Ломаченков</a:t>
            </a: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 и др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68346" y="4886345"/>
            <a:ext cx="1669301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С.В. </a:t>
            </a:r>
            <a:r>
              <a:rPr lang="ru-RU" sz="12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ванеско</a:t>
            </a:r>
            <a:r>
              <a:rPr lang="ru-RU" sz="1200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 др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637404" y="4890446"/>
            <a:ext cx="2019627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од ред. С.В. </a:t>
            </a:r>
            <a:r>
              <a:rPr lang="ru-RU" sz="12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Лозовенко</a:t>
            </a:r>
            <a:endParaRPr lang="ru-RU" sz="1200" dirty="0" smtClean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52487" y="2562066"/>
            <a:ext cx="1371370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А.Е. Марон</a:t>
            </a:r>
          </a:p>
          <a:p>
            <a:pPr lvl="0" algn="ctr">
              <a:lnSpc>
                <a:spcPct val="85000"/>
              </a:lnSpc>
              <a:defRPr/>
            </a:pPr>
            <a:r>
              <a:rPr lang="ru-RU" sz="12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Е.А. Марон и др.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901221" y="822831"/>
            <a:ext cx="1073902" cy="164984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9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718438" y="4520832"/>
            <a:ext cx="402328" cy="413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Прямоугольник 39"/>
          <p:cNvSpPr/>
          <p:nvPr/>
        </p:nvSpPr>
        <p:spPr>
          <a:xfrm>
            <a:off x="4025059" y="4181507"/>
            <a:ext cx="915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hlinkClick r:id="rId10"/>
              </a:rPr>
              <a:t>Купить:</a:t>
            </a:r>
            <a:endParaRPr lang="ru-RU" dirty="0"/>
          </a:p>
        </p:txBody>
      </p:sp>
      <p:pic>
        <p:nvPicPr>
          <p:cNvPr id="41" name="Picture 2" descr="http://qrcoder.ru/code/?https%3A%2F%2Fshop.prosv.ru%2Fkatalog%23%2Forderby%3D5%26sFilters%3D4%212304%3B2%211750%3B8%212506%3B&amp;8&amp;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1221" y="3180653"/>
            <a:ext cx="1069026" cy="1069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949" y="821435"/>
            <a:ext cx="828712" cy="823188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7044708" y="940641"/>
            <a:ext cx="49874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ия «внеурочная деятельность» для 5-11 классов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ОТОВОЕ РЕШЕНИЕ – ЭКОНОМИЯ ВРЕМЕНИ УЧИТЕЛЯ </a:t>
            </a:r>
          </a:p>
        </p:txBody>
      </p:sp>
      <p:pic>
        <p:nvPicPr>
          <p:cNvPr id="44" name="Picture 9" descr="Изображение Проектная мастерская. 5-9 классы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5470" y="1630406"/>
            <a:ext cx="1206362" cy="157891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302" y="3770289"/>
            <a:ext cx="1210529" cy="155098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Picture 63" descr="Изображение Веб-дизайн. Уровень 1 : учебное пособие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0088" y="3758960"/>
            <a:ext cx="1206362" cy="15509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46"/>
          <p:cNvPicPr/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088" y="1630406"/>
            <a:ext cx="1206362" cy="1578912"/>
          </a:xfrm>
          <a:prstGeom prst="rect">
            <a:avLst/>
          </a:prstGeom>
          <a:ln w="635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9" name="Picture 6" descr="http://qrcoder.ru/code/?https%3A%2F%2Fshop.prosv.ru%2Fkatalog%23%2Forderby%3D5%26sFilters%3D4%212304%3B13%2117879%3B&amp;8&amp;0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0842" y="5717968"/>
            <a:ext cx="958493" cy="95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8278754" y="6085508"/>
            <a:ext cx="2376384" cy="326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Tx/>
              <a:buNone/>
              <a:tabLst>
                <a:tab pos="457200" algn="l"/>
              </a:tabLst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  <a:hlinkClick r:id="rId18"/>
              </a:rPr>
              <a:t>Купить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51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9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69044" y="6205445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4408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840815" y="48542"/>
            <a:ext cx="77540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В чём разница между заданиями на формирование ЕНГ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и заданиями на оценку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94735" y="975875"/>
            <a:ext cx="4316361" cy="4522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Что формируем в рамках предмета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296879" y="980761"/>
            <a:ext cx="5179102" cy="4522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Что проверяется на оценочных мероприятиях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34934" y="1710813"/>
            <a:ext cx="4544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1. Умения, составляющие компетенции ЕНГ в рамках предмета «Физика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92949" y="1709189"/>
            <a:ext cx="58066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1. Насколько учащиеся владеют компетенциями в рамках естественно-научной области 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34933" y="2583531"/>
            <a:ext cx="45449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2. Упор на предметное знание и </a:t>
            </a:r>
            <a:r>
              <a:rPr lang="ru-RU" dirty="0" err="1" smtClean="0">
                <a:solidFill>
                  <a:srgbClr val="002060"/>
                </a:solidFill>
              </a:rPr>
              <a:t>метапредметные</a:t>
            </a:r>
            <a:r>
              <a:rPr lang="ru-RU" dirty="0" smtClean="0">
                <a:solidFill>
                  <a:srgbClr val="002060"/>
                </a:solidFill>
              </a:rPr>
              <a:t> умения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092949" y="2583530"/>
            <a:ext cx="56271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2</a:t>
            </a:r>
            <a:r>
              <a:rPr lang="ru-RU" dirty="0" smtClean="0">
                <a:solidFill>
                  <a:srgbClr val="002060"/>
                </a:solidFill>
              </a:rPr>
              <a:t>. Упор на практическое применение естественно-научных знаний в реальных жизненных ситуациях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Стрелка вниз 8"/>
          <p:cNvSpPr/>
          <p:nvPr/>
        </p:nvSpPr>
        <p:spPr>
          <a:xfrm>
            <a:off x="5198213" y="3386960"/>
            <a:ext cx="1347020" cy="622488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713542" y="4134867"/>
            <a:ext cx="4316361" cy="4522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Что должны предпринять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261312" y="4750007"/>
            <a:ext cx="76632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Увеличить количество контекстных задач на уроках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По возможности рассматривать задачи с элементами исследования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Рассматривать задачи с </a:t>
            </a:r>
            <a:r>
              <a:rPr lang="ru-RU" dirty="0" err="1" smtClean="0">
                <a:solidFill>
                  <a:srgbClr val="002060"/>
                </a:solidFill>
              </a:rPr>
              <a:t>метапредметным</a:t>
            </a:r>
            <a:r>
              <a:rPr lang="ru-RU" dirty="0" smtClean="0">
                <a:solidFill>
                  <a:srgbClr val="002060"/>
                </a:solidFill>
              </a:rPr>
              <a:t> содержанием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532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8" grpId="0"/>
      <p:bldP spid="20" grpId="0"/>
      <p:bldP spid="21" grpId="0"/>
      <p:bldP spid="22" grpId="0"/>
      <p:bldP spid="9" grpId="0" animBg="1"/>
      <p:bldP spid="25" grpId="0" animBg="1"/>
      <p:bldP spid="2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58908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Где можно взять задания для оценки ЕНГ?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37873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315702" y="2330030"/>
            <a:ext cx="4664968" cy="2078518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4"/>
              </a:rPr>
              <a:t>Серия «Функциональная грамотность. Учимся для жизни (5-9)»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(Выпуск 2 – Новинка 2021)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5"/>
              </a:rPr>
              <a:t>Серия «Функциональная грамотность. Тренажеры (5-9)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6"/>
              </a:rPr>
              <a:t>Серия «ФГОС. Оценка образовательных достижений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239330"/>
            <a:ext cx="728841" cy="72884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119792"/>
            <a:ext cx="726248" cy="69804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9"/>
          <a:srcRect l="14692" t="20657" r="22083" b="16289"/>
          <a:stretch/>
        </p:blipFill>
        <p:spPr>
          <a:xfrm>
            <a:off x="109823" y="4024485"/>
            <a:ext cx="1057109" cy="478690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6595960" y="2316495"/>
            <a:ext cx="467314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PISA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9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67186" y="3197697"/>
            <a:ext cx="4634242" cy="2317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Прямоугольник 19">
            <a:hlinkClick r:id="rId11"/>
          </p:cNvPr>
          <p:cNvSpPr/>
          <p:nvPr/>
        </p:nvSpPr>
        <p:spPr>
          <a:xfrm>
            <a:off x="8328248" y="5706436"/>
            <a:ext cx="1577436" cy="5869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крыть Банк задани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315702" y="5236572"/>
            <a:ext cx="24632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/>
              </a:rPr>
              <a:t>Узнать больш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"/>
              </a:rPr>
              <a:t>и купить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90147" y="5396081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http://qrcoder.ru/code/?https%3A%2F%2Fprosv.ru%2Fpages%2Fpisa.html&amp;4&amp;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238" y="4979299"/>
            <a:ext cx="972000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24192" y="594928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158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895323" y="1085439"/>
            <a:ext cx="4709664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под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97715" y="1853863"/>
            <a:ext cx="5376222" cy="4448397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PISA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ситуаци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грамотности.</a:t>
            </a: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Готовится второй выпуск (март 2021 г.)</a:t>
            </a:r>
          </a:p>
          <a:p>
            <a:pPr marL="285750" marR="0" lvl="0" indent="-285750" algn="l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779828" y="216591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 Ligh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44" y="4007559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466" y="4109750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65" y="4018480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327" y="4079586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5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567" y="5356173"/>
            <a:ext cx="1090816" cy="109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48015" y="6113319"/>
            <a:ext cx="25717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2"/>
              </a:rPr>
              <a:t>https://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2"/>
              </a:rPr>
              <a:t>prosv.ru/pages/pisa.html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67582" y="6101555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7942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ФУНКЦИОНАЛЬНАЯ ГРАМОТНОСТЬ.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 Light"/>
                <a:ea typeface="Open Sans" pitchFamily="34" charset="0"/>
                <a:cs typeface="Open Sans" pitchFamily="34" charset="0"/>
              </a:rPr>
              <a:t>ТРЕНАЖЁ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 Light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779828" y="219200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" pitchFamily="34" charset="0"/>
                <a:cs typeface="Open Sans Condensed" pitchFamily="34" charset="0"/>
              </a:rPr>
              <a:t>«ФУНКЦИОНАЛЬНАЯ ГРАМОТНОСТЬ. ТРЕНАЖЁРЫ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 Ligh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4876" y="2135846"/>
            <a:ext cx="5241524" cy="3206455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деятельност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ответы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образовани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80329" y="1313530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159" y="5326921"/>
            <a:ext cx="1084736" cy="10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650366" y="6069280"/>
            <a:ext cx="25717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https://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prosv.ru/pages/pisa.html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625" y="6018302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5941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56541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noProof="0" dirty="0" smtClean="0">
                <a:solidFill>
                  <a:srgbClr val="002060"/>
                </a:solidFill>
                <a:latin typeface="Calibri"/>
              </a:rPr>
              <a:t>Структура функциональной грамотност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3005359838"/>
              </p:ext>
            </p:extLst>
          </p:nvPr>
        </p:nvGraphicFramePr>
        <p:xfrm>
          <a:off x="1628233" y="589185"/>
          <a:ext cx="8725903" cy="5566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683131" y="931277"/>
            <a:ext cx="2793265" cy="6463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Глобальные компетенции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реативное мышление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775393" y="810034"/>
            <a:ext cx="2830712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Читательская грамотность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773735" y="3958541"/>
            <a:ext cx="3160802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Математическая грамотность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206980" y="6071429"/>
            <a:ext cx="3568413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Естественно-научная грамотность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83131" y="4542671"/>
            <a:ext cx="2708370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Финансовая грамотность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18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027376" y="1027528"/>
            <a:ext cx="4164623" cy="5512403"/>
          </a:xfrm>
          <a:prstGeom prst="rect">
            <a:avLst/>
          </a:prstGeom>
          <a:solidFill>
            <a:srgbClr val="C7E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85426" y="58547"/>
            <a:ext cx="100293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 Light" pitchFamily="34" charset="0"/>
                <a:cs typeface="Open Sans Condensed Light" pitchFamily="34" charset="0"/>
              </a:rPr>
              <a:t>Электронный Банк заданий по функциональной грамот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-2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 Light" pitchFamily="34" charset="0"/>
                <a:cs typeface="Open Sans Condensed Light" pitchFamily="34" charset="0"/>
              </a:rPr>
              <a:t>Удобно</a:t>
            </a:r>
            <a:r>
              <a:rPr kumimoji="0" lang="ru-RU" sz="2000" b="1" i="0" u="none" strike="noStrike" kern="1200" cap="none" spc="-2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 Light"/>
                <a:ea typeface="Open Sans Condensed Light" pitchFamily="34" charset="0"/>
                <a:cs typeface="Open Sans Condensed Light" pitchFamily="34" charset="0"/>
              </a:rPr>
              <a:t>, доступно, эффективно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 Ligh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Picture 9">
            <a:extLst>
              <a:ext uri="{FF2B5EF4-FFF2-40B4-BE49-F238E27FC236}">
                <a16:creationId xmlns:a16="http://schemas.microsoft.com/office/drawing/2014/main" id="{68B4845D-D2BD-B34E-90D8-94F11BE924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27" t="22060" r="31655" b="20078"/>
          <a:stretch/>
        </p:blipFill>
        <p:spPr>
          <a:xfrm>
            <a:off x="4607748" y="3753836"/>
            <a:ext cx="3328847" cy="2076386"/>
          </a:xfrm>
          <a:prstGeom prst="rect">
            <a:avLst/>
          </a:prstGeom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350740" y="1142357"/>
            <a:ext cx="7437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ния на формирование функциональной грамотност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учеников 1-9 классов от авторов, занимающихся программой оценки 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E38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E38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E384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1538707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ждое задание представлено в виде ситуации с 3 уровням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ложности</a:t>
            </a:r>
            <a:endParaRPr kumimoji="0" lang="x-non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3507415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нико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-4 классо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правлен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отработку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предметных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выко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6">
            <a:extLst>
              <a:ext uri="{FF2B5EF4-FFF2-40B4-BE49-F238E27FC236}">
                <a16:creationId xmlns:a16="http://schemas.microsoft.com/office/drawing/2014/main" id="{0EC3C284-5A70-6E41-9350-128CD9A3BA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71680" y="1594042"/>
            <a:ext cx="648642" cy="648642"/>
          </a:xfrm>
          <a:prstGeom prst="rect">
            <a:avLst/>
          </a:prstGeom>
          <a:solidFill>
            <a:srgbClr val="C7E8FE"/>
          </a:solidFill>
        </p:spPr>
      </p:pic>
      <p:pic>
        <p:nvPicPr>
          <p:cNvPr id="33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797" y="3718977"/>
            <a:ext cx="4152772" cy="2076386"/>
          </a:xfrm>
          <a:prstGeom prst="rect">
            <a:avLst/>
          </a:prstGeom>
        </p:spPr>
      </p:pic>
      <p:sp>
        <p:nvSpPr>
          <p:cNvPr id="35" name="Rectangle 2">
            <a:extLst>
              <a:ext uri="{FF2B5EF4-FFF2-40B4-BE49-F238E27FC236}">
                <a16:creationId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350740" y="2107380"/>
            <a:ext cx="7255206" cy="110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Более 500 заданий заданий, банк постоянно пополняется.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Охватывает все основные предметы школьной программы.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лнофункциональны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ренажер, который имитирует задания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107689" y="1142815"/>
            <a:ext cx="30235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ния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4599491"/>
            <a:ext cx="302351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нико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-9 классо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правлены на развитие: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читательской грамотности;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атематической грамотности;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стественнонаучной грамотности;</a:t>
            </a:r>
          </a:p>
          <a:p>
            <a:pPr marL="319088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реативного мышления.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2630783"/>
            <a:ext cx="30235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зработано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 10 различных типов и формато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ний</a:t>
            </a:r>
            <a:endParaRPr kumimoji="0" lang="x-non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8499" y="2581320"/>
            <a:ext cx="695004" cy="64623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2885" y="3577507"/>
            <a:ext cx="646232" cy="6462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2885" y="4648453"/>
            <a:ext cx="646232" cy="646232"/>
          </a:xfrm>
          <a:prstGeom prst="rect">
            <a:avLst/>
          </a:prstGeom>
        </p:spPr>
      </p:pic>
      <p:sp>
        <p:nvSpPr>
          <p:cNvPr id="3" name="Прямоугольник 2">
            <a:hlinkClick r:id="rId10"/>
          </p:cNvPr>
          <p:cNvSpPr/>
          <p:nvPr/>
        </p:nvSpPr>
        <p:spPr>
          <a:xfrm>
            <a:off x="786728" y="5895149"/>
            <a:ext cx="3312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1"/>
              </a:rPr>
              <a:t>Узнать больше о Банке задани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6033" y="5942717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848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9493058" y="1677982"/>
            <a:ext cx="2459970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  <a:hlinkClick r:id="rId3"/>
              </a:rPr>
              <a:t>https://uchitel.club/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t="4558"/>
          <a:stretch/>
        </p:blipFill>
        <p:spPr>
          <a:xfrm>
            <a:off x="295718" y="1011115"/>
            <a:ext cx="8637878" cy="49569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96537" y="183750"/>
            <a:ext cx="969707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Просвещение. Поддержк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98889" y="3650701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тор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собраны материалы в  помощь учителям и родителям для орга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учени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мен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лучшими практиками, их апробация и распространение в сотрудничестве с органами управле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разование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29038" y="1771118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62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6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4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6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2" y="203634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3" y="203634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1" y="2024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3" y="1436758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4" y="1436758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2" y="1436758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8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4" y="1436758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4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1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4" y="560565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2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3" y="1819703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7" name="Группа 96"/>
          <p:cNvGrpSpPr/>
          <p:nvPr/>
        </p:nvGrpSpPr>
        <p:grpSpPr>
          <a:xfrm>
            <a:off x="9501353" y="538286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6" y="509540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3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7" y="538052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9" y="524546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9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6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9" y="532049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7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9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kumimoji="0" lang="en-US" sz="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ru-RU" sz="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5151944" y="5204511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522" y="5218019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178771" y="193727"/>
            <a:ext cx="11937029" cy="2519692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186184" y="1602461"/>
            <a:ext cx="11819633" cy="1745682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15080" y="1691927"/>
            <a:ext cx="9870332" cy="1559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Хотите купить?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Оптовые закупк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отдел по работе с государственными заказам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тел.: +7 (495) 789-30-40, доб. 41-44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e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-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mail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GTrofimova@prosv.ru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,  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Розниц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самостоятельно заказать в нашем интернет-магазине shop.prosv.ru </a:t>
            </a:r>
          </a:p>
        </p:txBody>
      </p:sp>
      <p:sp>
        <p:nvSpPr>
          <p:cNvPr id="52" name="Заголовок 1"/>
          <p:cNvSpPr txBox="1">
            <a:spLocks/>
          </p:cNvSpPr>
          <p:nvPr/>
        </p:nvSpPr>
        <p:spPr>
          <a:xfrm>
            <a:off x="-76200" y="492870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  <a:t>СПАСИБО ЗА ВНИМАНИЕ!</a:t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  <a:t/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kumimoji="0" lang="ru-RU" sz="3200" b="1" i="0" u="none" strike="noStrike" kern="1200" cap="none" spc="-40" normalizeH="0" baseline="0" noProof="0" dirty="0">
              <a:ln>
                <a:noFill/>
              </a:ln>
              <a:solidFill>
                <a:srgbClr val="2A3393"/>
              </a:solidFill>
              <a:effectLst/>
              <a:uLnTx/>
              <a:uFillTx/>
              <a:latin typeface="Calibri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879817" y="3485016"/>
            <a:ext cx="49338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дел методической поддержки педагогов и О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едущий методист по физик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твинов Олег Андреевич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л. 8-977-992-42-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-mail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OLitvinov@prosv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’s app: 8-963-976-10-01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agram: @oleg_628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609" y="3961724"/>
            <a:ext cx="194745" cy="19474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716" y="4169951"/>
            <a:ext cx="245576" cy="28778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7893" y="4600072"/>
            <a:ext cx="241221" cy="24091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185" y="4398410"/>
            <a:ext cx="206383" cy="20638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013" y="3485016"/>
            <a:ext cx="1350150" cy="2400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252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576" y="768401"/>
            <a:ext cx="4351496" cy="223341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71942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Функциональная грамотность через призму физик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" name="Блок-схема: подготовка 6"/>
          <p:cNvSpPr/>
          <p:nvPr/>
        </p:nvSpPr>
        <p:spPr>
          <a:xfrm>
            <a:off x="3696194" y="2596823"/>
            <a:ext cx="4282387" cy="532068"/>
          </a:xfrm>
          <a:prstGeom prst="flowChartPreparation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ИЗИКА</a:t>
            </a:r>
            <a:endParaRPr lang="ru-RU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4" name="Прямая со стрелкой 13"/>
          <p:cNvCxnSpPr>
            <a:stCxn id="5" idx="2"/>
            <a:endCxn id="7" idx="0"/>
          </p:cNvCxnSpPr>
          <p:nvPr/>
        </p:nvCxnSpPr>
        <p:spPr>
          <a:xfrm>
            <a:off x="5804828" y="1144692"/>
            <a:ext cx="32560" cy="1452131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H="1">
            <a:off x="6173954" y="1126744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5467202" y="1144692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>
            <a:off x="5083145" y="1163116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flipH="1">
            <a:off x="6559291" y="1146118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>
            <a:off x="4712739" y="1164483"/>
            <a:ext cx="1" cy="1442714"/>
          </a:xfrm>
          <a:prstGeom prst="straightConnector1">
            <a:avLst/>
          </a:prstGeom>
          <a:ln w="44450">
            <a:solidFill>
              <a:srgbClr val="FFFF00"/>
            </a:solidFill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H="1">
            <a:off x="3080800" y="3150236"/>
            <a:ext cx="931888" cy="829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endCxn id="31" idx="0"/>
          </p:cNvCxnSpPr>
          <p:nvPr/>
        </p:nvCxnSpPr>
        <p:spPr>
          <a:xfrm>
            <a:off x="4508627" y="3150236"/>
            <a:ext cx="0" cy="16538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H="1">
            <a:off x="5684070" y="3162480"/>
            <a:ext cx="1" cy="252756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7614768" y="3150236"/>
            <a:ext cx="761481" cy="8296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endCxn id="32" idx="0"/>
          </p:cNvCxnSpPr>
          <p:nvPr/>
        </p:nvCxnSpPr>
        <p:spPr>
          <a:xfrm flipH="1">
            <a:off x="6859516" y="3150236"/>
            <a:ext cx="2" cy="16538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828200" y="4010648"/>
            <a:ext cx="1430200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Финансовая 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</a:rPr>
              <a:t>грамотность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438919" y="4009363"/>
            <a:ext cx="187243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Математическая </a:t>
            </a:r>
            <a:endParaRPr lang="ru-RU" dirty="0">
              <a:solidFill>
                <a:srgbClr val="002060"/>
              </a:solidFill>
            </a:endParaRPr>
          </a:p>
          <a:p>
            <a:pPr algn="ctr"/>
            <a:r>
              <a:rPr lang="ru-RU" dirty="0" smtClean="0">
                <a:solidFill>
                  <a:srgbClr val="002060"/>
                </a:solidFill>
              </a:rPr>
              <a:t>грамотность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837161" y="4804112"/>
            <a:ext cx="1342932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Креативное</a:t>
            </a:r>
          </a:p>
          <a:p>
            <a:pPr algn="ctr"/>
            <a:r>
              <a:rPr lang="ru-RU" dirty="0" smtClean="0">
                <a:solidFill>
                  <a:srgbClr val="002060"/>
                </a:solidFill>
              </a:rPr>
              <a:t>мышление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117357" y="4804111"/>
            <a:ext cx="1484317" cy="6463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algn="ctr"/>
            <a:r>
              <a:rPr lang="ru-RU">
                <a:solidFill>
                  <a:srgbClr val="002060"/>
                </a:solidFill>
              </a:rPr>
              <a:t>Читательская</a:t>
            </a:r>
          </a:p>
          <a:p>
            <a:pPr algn="ctr"/>
            <a:r>
              <a:rPr lang="ru-RU">
                <a:solidFill>
                  <a:srgbClr val="002060"/>
                </a:solidFill>
              </a:rPr>
              <a:t>грамотность</a:t>
            </a:r>
            <a:endParaRPr lang="ru-RU" dirty="0" smtClean="0">
              <a:solidFill>
                <a:srgbClr val="00206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89985" y="5734125"/>
            <a:ext cx="5788170" cy="4616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</a:rPr>
              <a:t>Естественно-научная грамотность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062195" y="643497"/>
            <a:ext cx="3485265" cy="50119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Функциональная грамотность</a:t>
            </a:r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021" y="768401"/>
            <a:ext cx="2886430" cy="2886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577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29" grpId="0" animBg="1"/>
      <p:bldP spid="31" grpId="0" animBg="1"/>
      <p:bldP spid="32" grpId="0" animBg="1"/>
      <p:bldP spid="34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55634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Инструменты учителя на уроках физик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52587" y="846369"/>
            <a:ext cx="11680723" cy="65796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Задания предлагаемые в различных учебниках и </a:t>
            </a:r>
            <a:r>
              <a:rPr lang="ru-RU" b="1" dirty="0">
                <a:solidFill>
                  <a:srgbClr val="002060"/>
                </a:solidFill>
              </a:rPr>
              <a:t>учебных пособиях направлены на </a:t>
            </a:r>
            <a:r>
              <a:rPr lang="ru-RU" b="1" dirty="0" smtClean="0">
                <a:solidFill>
                  <a:srgbClr val="002060"/>
                </a:solidFill>
              </a:rPr>
              <a:t>формирование функциональной </a:t>
            </a:r>
            <a:r>
              <a:rPr lang="ru-RU" b="1" dirty="0">
                <a:solidFill>
                  <a:srgbClr val="002060"/>
                </a:solidFill>
              </a:rPr>
              <a:t>грамотности, поскольку, по сути, это </a:t>
            </a:r>
            <a:r>
              <a:rPr lang="ru-RU" b="1" dirty="0" err="1">
                <a:solidFill>
                  <a:srgbClr val="002060"/>
                </a:solidFill>
              </a:rPr>
              <a:t>метапредметные</a:t>
            </a:r>
            <a:r>
              <a:rPr lang="ru-RU" b="1" dirty="0">
                <a:solidFill>
                  <a:srgbClr val="002060"/>
                </a:solidFill>
              </a:rPr>
              <a:t> результаты обуч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6711" y="1629805"/>
            <a:ext cx="188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ТИПЫ ЗАДАНИЙ: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2112" y="2034428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Задания на работу с текстом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62109" y="2694298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Опорные конспекты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462107" y="3356860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онтекстные задач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462106" y="4016730"/>
            <a:ext cx="3235937" cy="40312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ачественные задач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187363" y="4685278"/>
            <a:ext cx="3785421" cy="81261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Рубрика «Мои физические исследования», «Домашний эксперимент» и др.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462104" y="5763313"/>
            <a:ext cx="3235937" cy="57864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Работа с информацией в нетекстовом виде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5192866" y="3279311"/>
            <a:ext cx="2210881" cy="1474838"/>
          </a:xfrm>
          <a:prstGeom prst="right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8781292" y="1665096"/>
            <a:ext cx="21523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ИНСТРУМЕНТАРИЙ: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8747921" y="2235989"/>
            <a:ext cx="2564862" cy="5845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Учебник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8747921" y="2944065"/>
            <a:ext cx="2564862" cy="5845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Задачник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8747921" y="3652141"/>
            <a:ext cx="2564862" cy="58455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Рабочая тетрадь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8747921" y="4360217"/>
            <a:ext cx="2564862" cy="5068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Сборник контрольных работ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8747921" y="4991027"/>
            <a:ext cx="2564862" cy="5068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Технологические карты уроков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8747921" y="5621837"/>
            <a:ext cx="2564862" cy="5068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Методические рекомендации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345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/>
      <p:bldP spid="13" grpId="0" animBg="1"/>
      <p:bldP spid="36" grpId="0" animBg="1"/>
      <p:bldP spid="38" grpId="0" animBg="1"/>
      <p:bldP spid="39" grpId="0" animBg="1"/>
      <p:bldP spid="40" grpId="0" animBg="1"/>
      <p:bldP spid="41" grpId="0" animBg="1"/>
      <p:bldP spid="16" grpId="0" animBg="1"/>
      <p:bldP spid="42" grpId="0"/>
      <p:bldP spid="43" grpId="0" animBg="1"/>
      <p:bldP spid="44" grpId="0" animBg="1"/>
      <p:bldP spid="45" grpId="0" animBg="1"/>
      <p:bldP spid="46" grpId="0" animBg="1"/>
      <p:bldP spid="47" grpId="0" animBg="1"/>
      <p:bldP spid="4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7049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Естественно-научная грамотность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577087" y="589185"/>
            <a:ext cx="4364966" cy="4572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КАКИЕ КОМПЕТЕНЦИИ ПРОВЕРЯЮТСЯ?</a:t>
            </a:r>
            <a:endParaRPr lang="ru-RU" b="1" dirty="0">
              <a:solidFill>
                <a:srgbClr val="002060"/>
              </a:solidFill>
            </a:endParaRPr>
          </a:p>
        </p:txBody>
      </p:sp>
      <p:cxnSp>
        <p:nvCxnSpPr>
          <p:cNvPr id="7" name="Прямая со стрелкой 6"/>
          <p:cNvCxnSpPr>
            <a:stCxn id="3" idx="2"/>
            <a:endCxn id="17" idx="0"/>
          </p:cNvCxnSpPr>
          <p:nvPr/>
        </p:nvCxnSpPr>
        <p:spPr>
          <a:xfrm>
            <a:off x="5759570" y="1046385"/>
            <a:ext cx="0" cy="13192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Скругленный прямоугольник 10"/>
          <p:cNvSpPr/>
          <p:nvPr/>
        </p:nvSpPr>
        <p:spPr>
          <a:xfrm>
            <a:off x="293298" y="2368112"/>
            <a:ext cx="3467818" cy="506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002060"/>
                </a:solidFill>
              </a:rPr>
              <a:t>научное объяснение явлений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025661" y="2365627"/>
            <a:ext cx="3467818" cy="506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400" b="1" dirty="0">
                <a:solidFill>
                  <a:srgbClr val="002060"/>
                </a:solidFill>
              </a:rPr>
              <a:t>понимание особенностей естественнонаучного исследования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758024" y="2365627"/>
            <a:ext cx="3467818" cy="5069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b="1" dirty="0">
                <a:solidFill>
                  <a:srgbClr val="002060"/>
                </a:solidFill>
              </a:rPr>
              <a:t>интерпретация данных и использование научных доказательств для получения выводов</a:t>
            </a:r>
          </a:p>
        </p:txBody>
      </p:sp>
      <p:cxnSp>
        <p:nvCxnSpPr>
          <p:cNvPr id="13" name="Прямая со стрелкой 12"/>
          <p:cNvCxnSpPr>
            <a:stCxn id="3" idx="2"/>
            <a:endCxn id="11" idx="0"/>
          </p:cNvCxnSpPr>
          <p:nvPr/>
        </p:nvCxnSpPr>
        <p:spPr>
          <a:xfrm flipH="1">
            <a:off x="2027207" y="1046385"/>
            <a:ext cx="3732363" cy="13217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3" idx="2"/>
            <a:endCxn id="18" idx="0"/>
          </p:cNvCxnSpPr>
          <p:nvPr/>
        </p:nvCxnSpPr>
        <p:spPr>
          <a:xfrm>
            <a:off x="5759570" y="1046385"/>
            <a:ext cx="3732363" cy="131924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Стрелка вниз 21"/>
          <p:cNvSpPr/>
          <p:nvPr/>
        </p:nvSpPr>
        <p:spPr>
          <a:xfrm>
            <a:off x="1897811" y="2872559"/>
            <a:ext cx="258792" cy="327841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>
            <a:hlinkClick r:id="rId4" action="ppaction://hlinksldjump"/>
          </p:cNvPr>
          <p:cNvSpPr/>
          <p:nvPr/>
        </p:nvSpPr>
        <p:spPr>
          <a:xfrm>
            <a:off x="497456" y="325043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29" name="Скругленный прямоугольник 28">
            <a:hlinkClick r:id="rId5" action="ppaction://hlinksldjump"/>
          </p:cNvPr>
          <p:cNvSpPr/>
          <p:nvPr/>
        </p:nvSpPr>
        <p:spPr>
          <a:xfrm>
            <a:off x="497456" y="4002282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  <p:sp>
        <p:nvSpPr>
          <p:cNvPr id="30" name="Скругленный прямоугольник 29">
            <a:hlinkClick r:id="rId6" action="ppaction://hlinksldjump"/>
          </p:cNvPr>
          <p:cNvSpPr/>
          <p:nvPr/>
        </p:nvSpPr>
        <p:spPr>
          <a:xfrm>
            <a:off x="497456" y="475091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31" name="Скругленный прямоугольник 30">
            <a:hlinkClick r:id="rId7" action="ppaction://hlinksldjump"/>
          </p:cNvPr>
          <p:cNvSpPr/>
          <p:nvPr/>
        </p:nvSpPr>
        <p:spPr>
          <a:xfrm>
            <a:off x="497456" y="5497226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32" name="Скругленный прямоугольник 31">
            <a:hlinkClick r:id="rId8" action="ppaction://hlinksldjump"/>
          </p:cNvPr>
          <p:cNvSpPr/>
          <p:nvPr/>
        </p:nvSpPr>
        <p:spPr>
          <a:xfrm>
            <a:off x="4229819" y="3258614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 и формулировать цель данного исследования</a:t>
            </a:r>
          </a:p>
        </p:txBody>
      </p:sp>
      <p:sp>
        <p:nvSpPr>
          <p:cNvPr id="33" name="Скругленный прямоугольник 32">
            <a:hlinkClick r:id="rId9" action="ppaction://hlinksldjump"/>
          </p:cNvPr>
          <p:cNvSpPr/>
          <p:nvPr/>
        </p:nvSpPr>
        <p:spPr>
          <a:xfrm>
            <a:off x="4229819" y="4002282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Предлагать или оценивать способ научного исследования данного вопроса</a:t>
            </a:r>
          </a:p>
        </p:txBody>
      </p:sp>
      <p:sp>
        <p:nvSpPr>
          <p:cNvPr id="34" name="Скругленный прямоугольник 33">
            <a:hlinkClick r:id="rId10" action="ppaction://hlinksldjump"/>
          </p:cNvPr>
          <p:cNvSpPr/>
          <p:nvPr/>
        </p:nvSpPr>
        <p:spPr>
          <a:xfrm>
            <a:off x="4229819" y="474595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Выдвигать объяснительные гипотезы и предлагать способы их проверки</a:t>
            </a:r>
          </a:p>
        </p:txBody>
      </p:sp>
      <p:sp>
        <p:nvSpPr>
          <p:cNvPr id="36" name="Скругленный прямоугольник 35">
            <a:hlinkClick r:id="rId11" action="ppaction://hlinksldjump"/>
          </p:cNvPr>
          <p:cNvSpPr/>
          <p:nvPr/>
        </p:nvSpPr>
        <p:spPr>
          <a:xfrm>
            <a:off x="4229819" y="5489617"/>
            <a:ext cx="3059502" cy="937865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писывать и оценивать способы, которые используют учёные, чтобы обеспечить надёжность данных и достоверность объяснений</a:t>
            </a:r>
          </a:p>
        </p:txBody>
      </p:sp>
      <p:sp>
        <p:nvSpPr>
          <p:cNvPr id="38" name="Скругленный прямоугольник 37">
            <a:hlinkClick r:id="rId12" action="ppaction://hlinksldjump"/>
          </p:cNvPr>
          <p:cNvSpPr/>
          <p:nvPr/>
        </p:nvSpPr>
        <p:spPr>
          <a:xfrm>
            <a:off x="7942053" y="325043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>
                <a:solidFill>
                  <a:srgbClr val="002060"/>
                </a:solidFill>
              </a:rPr>
              <a:t>Анализировать, интерпретировать данные и делать соответствующие выводы</a:t>
            </a:r>
          </a:p>
        </p:txBody>
      </p:sp>
      <p:sp>
        <p:nvSpPr>
          <p:cNvPr id="39" name="Скругленный прямоугольник 38">
            <a:hlinkClick r:id="rId13" action="ppaction://hlinksldjump"/>
          </p:cNvPr>
          <p:cNvSpPr/>
          <p:nvPr/>
        </p:nvSpPr>
        <p:spPr>
          <a:xfrm>
            <a:off x="7955905" y="4007975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>
                <a:solidFill>
                  <a:srgbClr val="002060"/>
                </a:solidFill>
              </a:rPr>
              <a:t>Преобразовывать одну форму представления данных в другую</a:t>
            </a:r>
          </a:p>
        </p:txBody>
      </p:sp>
      <p:sp>
        <p:nvSpPr>
          <p:cNvPr id="40" name="Скругленный прямоугольник 39">
            <a:hlinkClick r:id="rId14" action="ppaction://hlinksldjump"/>
          </p:cNvPr>
          <p:cNvSpPr/>
          <p:nvPr/>
        </p:nvSpPr>
        <p:spPr>
          <a:xfrm>
            <a:off x="7955905" y="4750910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Распознавать допущения, доказательства и рассуждения в научных текстах</a:t>
            </a:r>
          </a:p>
        </p:txBody>
      </p:sp>
      <p:sp>
        <p:nvSpPr>
          <p:cNvPr id="41" name="Скругленный прямоугольник 40">
            <a:hlinkClick r:id="rId15" action="ppaction://hlinksldjump"/>
          </p:cNvPr>
          <p:cNvSpPr/>
          <p:nvPr/>
        </p:nvSpPr>
        <p:spPr>
          <a:xfrm>
            <a:off x="7955905" y="5497226"/>
            <a:ext cx="3059502" cy="62110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2060"/>
                </a:solidFill>
              </a:rPr>
              <a:t>Оценивать c научной точки зрения аргументы и доказательства из различных источников</a:t>
            </a:r>
          </a:p>
        </p:txBody>
      </p:sp>
      <p:sp>
        <p:nvSpPr>
          <p:cNvPr id="42" name="Стрелка вниз 41"/>
          <p:cNvSpPr/>
          <p:nvPr/>
        </p:nvSpPr>
        <p:spPr>
          <a:xfrm>
            <a:off x="5630174" y="2871412"/>
            <a:ext cx="258792" cy="327841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трелка вниз 42"/>
          <p:cNvSpPr/>
          <p:nvPr/>
        </p:nvSpPr>
        <p:spPr>
          <a:xfrm>
            <a:off x="9422395" y="2879578"/>
            <a:ext cx="258792" cy="319676"/>
          </a:xfrm>
          <a:prstGeom prst="downArrow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593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  <p:bldP spid="17" grpId="0" animBg="1"/>
      <p:bldP spid="18" grpId="0" animBg="1"/>
      <p:bldP spid="22" grpId="0" animBg="1"/>
      <p:bldP spid="23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6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70169"/>
            <a:ext cx="8582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рименить соответствующие естественнонаучные знания для объяснения явле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70821" y="199858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</a:t>
            </a:r>
            <a:r>
              <a:rPr lang="ru-RU" b="1" dirty="0" smtClean="0">
                <a:solidFill>
                  <a:srgbClr val="FF0000"/>
                </a:solidFill>
              </a:rPr>
              <a:t>задания (что предлагается сделать ученику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0820" y="1307123"/>
            <a:ext cx="105019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</a:t>
            </a:r>
            <a:r>
              <a:rPr lang="ru-RU" dirty="0" smtClean="0">
                <a:solidFill>
                  <a:srgbClr val="002060"/>
                </a:solidFill>
              </a:rPr>
              <a:t>описание стандартной </a:t>
            </a:r>
            <a:r>
              <a:rPr lang="ru-RU" dirty="0">
                <a:solidFill>
                  <a:srgbClr val="002060"/>
                </a:solidFill>
              </a:rPr>
              <a:t>ситуации, для объяснения которой можно напрямую использовать программный материа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7276" y="2457303"/>
            <a:ext cx="4238625" cy="120015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2923" y="2658744"/>
            <a:ext cx="5803058" cy="797267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5955" y="4161301"/>
            <a:ext cx="5953988" cy="122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2041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48970" y="570169"/>
            <a:ext cx="87788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Распознавать, использовать и создавать объяснительные модели и представления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70821" y="2224606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3" name="Прямоугольник 12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</a:t>
            </a:r>
            <a:r>
              <a:rPr lang="ru-RU" b="1" dirty="0" smtClean="0">
                <a:solidFill>
                  <a:srgbClr val="FF0000"/>
                </a:solidFill>
              </a:rPr>
              <a:t>задания (</a:t>
            </a:r>
            <a:r>
              <a:rPr lang="ru-RU" b="1" dirty="0">
                <a:solidFill>
                  <a:srgbClr val="FF0000"/>
                </a:solidFill>
              </a:rPr>
              <a:t>что предлагается сделать ученику</a:t>
            </a:r>
            <a:r>
              <a:rPr lang="ru-RU" b="1" dirty="0" smtClean="0">
                <a:solidFill>
                  <a:srgbClr val="FF0000"/>
                </a:solidFill>
              </a:rPr>
              <a:t>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70821" y="1301276"/>
            <a:ext cx="1139671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описание нестандартной ситуации, для которой ученик не имеет готового объяснения. Для получения объяснения она должна быть преобразована  или в типовую известную модель или в модель, в которой ясно прослеживаются нужные взаимосвязи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727227"/>
            <a:ext cx="5967849" cy="78419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0484" y="3570068"/>
            <a:ext cx="6285497" cy="7123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821" y="4248979"/>
            <a:ext cx="5957414" cy="1378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223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80295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Делать и научно обосновывать прогнозы о протекании процесса или явления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5174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89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</a:t>
            </a:r>
            <a:r>
              <a:rPr lang="ru-RU" b="1" dirty="0" smtClean="0">
                <a:solidFill>
                  <a:srgbClr val="FF0000"/>
                </a:solidFill>
              </a:rPr>
              <a:t>задания (</a:t>
            </a:r>
            <a:r>
              <a:rPr lang="ru-RU" b="1" dirty="0">
                <a:solidFill>
                  <a:srgbClr val="FF0000"/>
                </a:solidFill>
              </a:rPr>
              <a:t>что предлагается сделать ученику</a:t>
            </a:r>
            <a:r>
              <a:rPr lang="ru-RU" b="1" dirty="0" smtClean="0">
                <a:solidFill>
                  <a:srgbClr val="FF0000"/>
                </a:solidFill>
              </a:rPr>
              <a:t>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0821" y="1307123"/>
            <a:ext cx="112393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на основе понимания механизма (или причин) явления или процесса обосновать дальнейшее развитие событий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1" y="2420649"/>
            <a:ext cx="5663334" cy="164210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34155" y="3571150"/>
            <a:ext cx="5694231" cy="150993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472" y="5146281"/>
            <a:ext cx="5736595" cy="1085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18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Calibri"/>
              </a:rPr>
              <a:t>Научное объяснение явлени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8970" y="517667"/>
            <a:ext cx="72900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Объяснять принцип действия технического устройства или технолог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0821" y="1998585"/>
            <a:ext cx="7535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Какие задания можно предложить для формирования данного умения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>
            <a:hlinkClick r:id="rId4" action="ppaction://hlinksldjump"/>
          </p:cNvPr>
          <p:cNvSpPr/>
          <p:nvPr/>
        </p:nvSpPr>
        <p:spPr>
          <a:xfrm>
            <a:off x="470821" y="937791"/>
            <a:ext cx="73367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Характеристика учебного задания (что предлагается сделать ученику</a:t>
            </a:r>
            <a:r>
              <a:rPr lang="ru-RU" b="1" dirty="0" smtClean="0">
                <a:solidFill>
                  <a:srgbClr val="FF0000"/>
                </a:solidFill>
              </a:rPr>
              <a:t>?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0820" y="1307123"/>
            <a:ext cx="105609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Предлагается объяснить, на каких научных знаниях основана работа описанного технического устройства или технологии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820" y="2457303"/>
            <a:ext cx="5008310" cy="267628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1144" y="3178432"/>
            <a:ext cx="5861340" cy="1817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456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1F7D17AAC9B84D9B10D0E7E91C15BE" ma:contentTypeVersion="2" ma:contentTypeDescription="Создание документа." ma:contentTypeScope="" ma:versionID="2ac0aaf2266523265383f9f0baf518bd">
  <xsd:schema xmlns:xsd="http://www.w3.org/2001/XMLSchema" xmlns:xs="http://www.w3.org/2001/XMLSchema" xmlns:p="http://schemas.microsoft.com/office/2006/metadata/properties" xmlns:ns2="1ca21ed8-a3df-4193-b700-fd65bdc63fa0" targetNamespace="http://schemas.microsoft.com/office/2006/metadata/properties" ma:root="true" ma:fieldsID="37d2bbe8966a65f4271685c3f2b8cf62" ns2:_="">
    <xsd:import namespace="1ca21ed8-a3df-4193-b700-fd65bdc63fa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a21ed8-a3df-4193-b700-fd65bdc63fa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ca21ed8-a3df-4193-b700-fd65bdc63fa0">US75DVFUYAPE-424-1731</_dlc_DocId>
    <_dlc_DocIdUrl xmlns="1ca21ed8-a3df-4193-b700-fd65bdc63fa0">
      <Url>http://www.eduportal44.ru/Makariev_EDU/Nejitino/OF/_layouts/15/DocIdRedir.aspx?ID=US75DVFUYAPE-424-1731</Url>
      <Description>US75DVFUYAPE-424-1731</Description>
    </_dlc_DocIdUrl>
  </documentManagement>
</p:properties>
</file>

<file path=customXml/itemProps1.xml><?xml version="1.0" encoding="utf-8"?>
<ds:datastoreItem xmlns:ds="http://schemas.openxmlformats.org/officeDocument/2006/customXml" ds:itemID="{1EB9C096-7AD0-4D21-9DA0-7374CF61A167}"/>
</file>

<file path=customXml/itemProps2.xml><?xml version="1.0" encoding="utf-8"?>
<ds:datastoreItem xmlns:ds="http://schemas.openxmlformats.org/officeDocument/2006/customXml" ds:itemID="{DEB1F682-DE30-4EE6-BD45-AC1D682159BA}"/>
</file>

<file path=customXml/itemProps3.xml><?xml version="1.0" encoding="utf-8"?>
<ds:datastoreItem xmlns:ds="http://schemas.openxmlformats.org/officeDocument/2006/customXml" ds:itemID="{DFEFB32A-649B-4F0A-887E-996E406D294A}"/>
</file>

<file path=customXml/itemProps4.xml><?xml version="1.0" encoding="utf-8"?>
<ds:datastoreItem xmlns:ds="http://schemas.openxmlformats.org/officeDocument/2006/customXml" ds:itemID="{F8405F3E-EA1A-4E11-AAAB-7005DDDDE09B}"/>
</file>

<file path=docProps/app.xml><?xml version="1.0" encoding="utf-8"?>
<Properties xmlns="http://schemas.openxmlformats.org/officeDocument/2006/extended-properties" xmlns:vt="http://schemas.openxmlformats.org/officeDocument/2006/docPropsVTypes">
  <TotalTime>19528</TotalTime>
  <Words>1744</Words>
  <Application>Microsoft Office PowerPoint</Application>
  <PresentationFormat>Широкоэкранный</PresentationFormat>
  <Paragraphs>261</Paragraphs>
  <Slides>22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7" baseType="lpstr">
      <vt:lpstr>Arial</vt:lpstr>
      <vt:lpstr>Calibri</vt:lpstr>
      <vt:lpstr>Calibri Light</vt:lpstr>
      <vt:lpstr>Cambria</vt:lpstr>
      <vt:lpstr>Cambria Math</vt:lpstr>
      <vt:lpstr>Franklin Gothic Book</vt:lpstr>
      <vt:lpstr>FuturaPT-Book</vt:lpstr>
      <vt:lpstr>Helvetica Light</vt:lpstr>
      <vt:lpstr>Open Sans</vt:lpstr>
      <vt:lpstr>Open Sans Condensed</vt:lpstr>
      <vt:lpstr>Open Sans Condensed Light</vt:lpstr>
      <vt:lpstr>Open Sans Light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Литвинов Олег Андреевич</cp:lastModifiedBy>
  <cp:revision>681</cp:revision>
  <dcterms:created xsi:type="dcterms:W3CDTF">2020-02-25T09:30:21Z</dcterms:created>
  <dcterms:modified xsi:type="dcterms:W3CDTF">2021-03-22T05:5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1F7D17AAC9B84D9B10D0E7E91C15BE</vt:lpwstr>
  </property>
  <property fmtid="{D5CDD505-2E9C-101B-9397-08002B2CF9AE}" pid="3" name="_dlc_DocIdItemGuid">
    <vt:lpwstr>bbc14ab8-4b29-4ba6-81e9-5f8f673da390</vt:lpwstr>
  </property>
</Properties>
</file>